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F8BA87-9350-4305-B942-BF0EC0FCB7DB}" v="54" dt="2023-03-08T00:52:33.3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1F8BA87-9350-4305-B942-BF0EC0FCB7DB}"/>
    <pc:docChg chg="addSld delSld modSld">
      <pc:chgData name="Roberto Gallardo" userId="49a044883f185952" providerId="LiveId" clId="{71F8BA87-9350-4305-B942-BF0EC0FCB7DB}" dt="2023-03-08T00:52:44.311" v="300" actId="1076"/>
      <pc:docMkLst>
        <pc:docMk/>
      </pc:docMkLst>
      <pc:sldChg chg="del">
        <pc:chgData name="Roberto Gallardo" userId="49a044883f185952" providerId="LiveId" clId="{71F8BA87-9350-4305-B942-BF0EC0FCB7DB}" dt="2023-02-25T15:14:34.227" v="91" actId="47"/>
        <pc:sldMkLst>
          <pc:docMk/>
          <pc:sldMk cId="1175010214" sldId="261"/>
        </pc:sldMkLst>
      </pc:sldChg>
      <pc:sldChg chg="addSp modSp mod">
        <pc:chgData name="Roberto Gallardo" userId="49a044883f185952" providerId="LiveId" clId="{71F8BA87-9350-4305-B942-BF0EC0FCB7DB}" dt="2023-03-08T00:52:44.311" v="300" actId="1076"/>
        <pc:sldMkLst>
          <pc:docMk/>
          <pc:sldMk cId="1418533539" sldId="271"/>
        </pc:sldMkLst>
        <pc:picChg chg="add mod">
          <ac:chgData name="Roberto Gallardo" userId="49a044883f185952" providerId="LiveId" clId="{71F8BA87-9350-4305-B942-BF0EC0FCB7DB}" dt="2023-03-08T00:52:44.311" v="300" actId="1076"/>
          <ac:picMkLst>
            <pc:docMk/>
            <pc:sldMk cId="1418533539" sldId="271"/>
            <ac:picMk id="6" creationId="{4C636BC2-4FE6-9C51-7F08-C258E0A6C55D}"/>
          </ac:picMkLst>
        </pc:picChg>
      </pc:sldChg>
      <pc:sldChg chg="addSp modSp mod">
        <pc:chgData name="Roberto Gallardo" userId="49a044883f185952" providerId="LiveId" clId="{71F8BA87-9350-4305-B942-BF0EC0FCB7DB}" dt="2023-03-08T00:50:53.075" v="237" actId="14100"/>
        <pc:sldMkLst>
          <pc:docMk/>
          <pc:sldMk cId="2124848710" sldId="281"/>
        </pc:sldMkLst>
        <pc:picChg chg="add mod">
          <ac:chgData name="Roberto Gallardo" userId="49a044883f185952" providerId="LiveId" clId="{71F8BA87-9350-4305-B942-BF0EC0FCB7DB}" dt="2023-03-08T00:50:53.075" v="237" actId="14100"/>
          <ac:picMkLst>
            <pc:docMk/>
            <pc:sldMk cId="2124848710" sldId="281"/>
            <ac:picMk id="6" creationId="{9C773EE9-C19E-1FD6-EB2A-761E22E40092}"/>
          </ac:picMkLst>
        </pc:picChg>
      </pc:sldChg>
      <pc:sldChg chg="addSp modSp mod">
        <pc:chgData name="Roberto Gallardo" userId="49a044883f185952" providerId="LiveId" clId="{71F8BA87-9350-4305-B942-BF0EC0FCB7DB}" dt="2023-03-08T00:50:37.028" v="228" actId="1076"/>
        <pc:sldMkLst>
          <pc:docMk/>
          <pc:sldMk cId="2028175529" sldId="282"/>
        </pc:sldMkLst>
        <pc:picChg chg="add mod">
          <ac:chgData name="Roberto Gallardo" userId="49a044883f185952" providerId="LiveId" clId="{71F8BA87-9350-4305-B942-BF0EC0FCB7DB}" dt="2023-03-08T00:50:37.028" v="228" actId="1076"/>
          <ac:picMkLst>
            <pc:docMk/>
            <pc:sldMk cId="2028175529" sldId="282"/>
            <ac:picMk id="7" creationId="{899F4162-2C24-860F-D4E3-D7018CAD2164}"/>
          </ac:picMkLst>
        </pc:picChg>
      </pc:sldChg>
      <pc:sldChg chg="addSp modSp mod">
        <pc:chgData name="Roberto Gallardo" userId="49a044883f185952" providerId="LiveId" clId="{71F8BA87-9350-4305-B942-BF0EC0FCB7DB}" dt="2023-03-08T00:50:20.076" v="216" actId="1076"/>
        <pc:sldMkLst>
          <pc:docMk/>
          <pc:sldMk cId="1326517747" sldId="283"/>
        </pc:sldMkLst>
        <pc:picChg chg="add mod">
          <ac:chgData name="Roberto Gallardo" userId="49a044883f185952" providerId="LiveId" clId="{71F8BA87-9350-4305-B942-BF0EC0FCB7DB}" dt="2023-03-08T00:50:20.076" v="216" actId="1076"/>
          <ac:picMkLst>
            <pc:docMk/>
            <pc:sldMk cId="1326517747" sldId="283"/>
            <ac:picMk id="7" creationId="{42DBA694-1428-E1B0-FD49-405234F90504}"/>
          </ac:picMkLst>
        </pc:picChg>
      </pc:sldChg>
      <pc:sldChg chg="addSp modSp mod">
        <pc:chgData name="Roberto Gallardo" userId="49a044883f185952" providerId="LiveId" clId="{71F8BA87-9350-4305-B942-BF0EC0FCB7DB}" dt="2023-03-08T00:50:03.444" v="204" actId="1076"/>
        <pc:sldMkLst>
          <pc:docMk/>
          <pc:sldMk cId="783739251" sldId="284"/>
        </pc:sldMkLst>
        <pc:picChg chg="add mod">
          <ac:chgData name="Roberto Gallardo" userId="49a044883f185952" providerId="LiveId" clId="{71F8BA87-9350-4305-B942-BF0EC0FCB7DB}" dt="2023-03-08T00:50:03.444" v="204" actId="1076"/>
          <ac:picMkLst>
            <pc:docMk/>
            <pc:sldMk cId="783739251" sldId="284"/>
            <ac:picMk id="7" creationId="{EF17492E-EBA0-17AD-3B5B-67EAE13F4750}"/>
          </ac:picMkLst>
        </pc:picChg>
      </pc:sldChg>
      <pc:sldChg chg="addSp modSp mod">
        <pc:chgData name="Roberto Gallardo" userId="49a044883f185952" providerId="LiveId" clId="{71F8BA87-9350-4305-B942-BF0EC0FCB7DB}" dt="2023-03-08T00:49:47.772" v="194" actId="1076"/>
        <pc:sldMkLst>
          <pc:docMk/>
          <pc:sldMk cId="1676122233" sldId="285"/>
        </pc:sldMkLst>
        <pc:picChg chg="add mod">
          <ac:chgData name="Roberto Gallardo" userId="49a044883f185952" providerId="LiveId" clId="{71F8BA87-9350-4305-B942-BF0EC0FCB7DB}" dt="2023-03-08T00:49:47.772" v="194" actId="1076"/>
          <ac:picMkLst>
            <pc:docMk/>
            <pc:sldMk cId="1676122233" sldId="285"/>
            <ac:picMk id="7" creationId="{FFD14A29-AA77-7A18-F0A6-4764290DEF0B}"/>
          </ac:picMkLst>
        </pc:picChg>
      </pc:sldChg>
      <pc:sldChg chg="addSp modSp mod">
        <pc:chgData name="Roberto Gallardo" userId="49a044883f185952" providerId="LiveId" clId="{71F8BA87-9350-4305-B942-BF0EC0FCB7DB}" dt="2023-03-08T00:49:18.656" v="177" actId="1076"/>
        <pc:sldMkLst>
          <pc:docMk/>
          <pc:sldMk cId="3100398757" sldId="286"/>
        </pc:sldMkLst>
        <pc:picChg chg="add mod">
          <ac:chgData name="Roberto Gallardo" userId="49a044883f185952" providerId="LiveId" clId="{71F8BA87-9350-4305-B942-BF0EC0FCB7DB}" dt="2023-03-08T00:49:18.656" v="177" actId="1076"/>
          <ac:picMkLst>
            <pc:docMk/>
            <pc:sldMk cId="3100398757" sldId="286"/>
            <ac:picMk id="7" creationId="{654740CA-2018-8EBD-32CF-8E3F08AA4415}"/>
          </ac:picMkLst>
        </pc:picChg>
      </pc:sldChg>
      <pc:sldChg chg="addSp modSp mod">
        <pc:chgData name="Roberto Gallardo" userId="49a044883f185952" providerId="LiveId" clId="{71F8BA87-9350-4305-B942-BF0EC0FCB7DB}" dt="2023-03-08T00:49:03.656" v="166" actId="1076"/>
        <pc:sldMkLst>
          <pc:docMk/>
          <pc:sldMk cId="1546475425" sldId="287"/>
        </pc:sldMkLst>
        <pc:picChg chg="add mod">
          <ac:chgData name="Roberto Gallardo" userId="49a044883f185952" providerId="LiveId" clId="{71F8BA87-9350-4305-B942-BF0EC0FCB7DB}" dt="2023-03-08T00:49:03.656" v="166" actId="1076"/>
          <ac:picMkLst>
            <pc:docMk/>
            <pc:sldMk cId="1546475425" sldId="287"/>
            <ac:picMk id="7" creationId="{F56472E9-D88B-CE99-D340-CDE224590DC7}"/>
          </ac:picMkLst>
        </pc:picChg>
      </pc:sldChg>
      <pc:sldChg chg="addSp modSp mod">
        <pc:chgData name="Roberto Gallardo" userId="49a044883f185952" providerId="LiveId" clId="{71F8BA87-9350-4305-B942-BF0EC0FCB7DB}" dt="2023-03-08T00:48:30.504" v="146" actId="1076"/>
        <pc:sldMkLst>
          <pc:docMk/>
          <pc:sldMk cId="1380517306" sldId="288"/>
        </pc:sldMkLst>
        <pc:picChg chg="add mod">
          <ac:chgData name="Roberto Gallardo" userId="49a044883f185952" providerId="LiveId" clId="{71F8BA87-9350-4305-B942-BF0EC0FCB7DB}" dt="2023-03-08T00:48:30.504" v="146" actId="1076"/>
          <ac:picMkLst>
            <pc:docMk/>
            <pc:sldMk cId="1380517306" sldId="288"/>
            <ac:picMk id="7" creationId="{A89516DE-9870-F0CF-B1F6-82537A9C803C}"/>
          </ac:picMkLst>
        </pc:picChg>
      </pc:sldChg>
      <pc:sldChg chg="addSp modSp mod">
        <pc:chgData name="Roberto Gallardo" userId="49a044883f185952" providerId="LiveId" clId="{71F8BA87-9350-4305-B942-BF0EC0FCB7DB}" dt="2023-03-08T00:48:11.704" v="133" actId="1076"/>
        <pc:sldMkLst>
          <pc:docMk/>
          <pc:sldMk cId="1388671151" sldId="289"/>
        </pc:sldMkLst>
        <pc:picChg chg="add mod">
          <ac:chgData name="Roberto Gallardo" userId="49a044883f185952" providerId="LiveId" clId="{71F8BA87-9350-4305-B942-BF0EC0FCB7DB}" dt="2023-03-08T00:48:11.704" v="133" actId="1076"/>
          <ac:picMkLst>
            <pc:docMk/>
            <pc:sldMk cId="1388671151" sldId="289"/>
            <ac:picMk id="7" creationId="{6C2BDC2C-49CF-0F27-A6B9-5468989B3F17}"/>
          </ac:picMkLst>
        </pc:picChg>
      </pc:sldChg>
      <pc:sldChg chg="addSp modSp mod">
        <pc:chgData name="Roberto Gallardo" userId="49a044883f185952" providerId="LiveId" clId="{71F8BA87-9350-4305-B942-BF0EC0FCB7DB}" dt="2023-03-08T00:47:32.548" v="114" actId="1076"/>
        <pc:sldMkLst>
          <pc:docMk/>
          <pc:sldMk cId="2355376039" sldId="290"/>
        </pc:sldMkLst>
        <pc:picChg chg="add mod">
          <ac:chgData name="Roberto Gallardo" userId="49a044883f185952" providerId="LiveId" clId="{71F8BA87-9350-4305-B942-BF0EC0FCB7DB}" dt="2023-03-08T00:47:32.548" v="114" actId="1076"/>
          <ac:picMkLst>
            <pc:docMk/>
            <pc:sldMk cId="2355376039" sldId="290"/>
            <ac:picMk id="8" creationId="{70566B00-58FD-655F-92F7-C576499C828D}"/>
          </ac:picMkLst>
        </pc:picChg>
      </pc:sldChg>
      <pc:sldChg chg="addSp modSp mod">
        <pc:chgData name="Roberto Gallardo" userId="49a044883f185952" providerId="LiveId" clId="{71F8BA87-9350-4305-B942-BF0EC0FCB7DB}" dt="2023-03-08T00:47:07.852" v="101" actId="1076"/>
        <pc:sldMkLst>
          <pc:docMk/>
          <pc:sldMk cId="3757257295" sldId="291"/>
        </pc:sldMkLst>
        <pc:picChg chg="add mod">
          <ac:chgData name="Roberto Gallardo" userId="49a044883f185952" providerId="LiveId" clId="{71F8BA87-9350-4305-B942-BF0EC0FCB7DB}" dt="2023-03-08T00:47:07.852" v="101" actId="1076"/>
          <ac:picMkLst>
            <pc:docMk/>
            <pc:sldMk cId="3757257295" sldId="291"/>
            <ac:picMk id="8" creationId="{005CFD42-DA99-5ECB-8187-0FECC745824F}"/>
          </ac:picMkLst>
        </pc:picChg>
      </pc:sldChg>
      <pc:sldChg chg="addSp modSp mod">
        <pc:chgData name="Roberto Gallardo" userId="49a044883f185952" providerId="LiveId" clId="{71F8BA87-9350-4305-B942-BF0EC0FCB7DB}" dt="2023-03-08T00:48:48.704" v="156" actId="1076"/>
        <pc:sldMkLst>
          <pc:docMk/>
          <pc:sldMk cId="1259856727" sldId="292"/>
        </pc:sldMkLst>
        <pc:picChg chg="add mod">
          <ac:chgData name="Roberto Gallardo" userId="49a044883f185952" providerId="LiveId" clId="{71F8BA87-9350-4305-B942-BF0EC0FCB7DB}" dt="2023-03-08T00:48:48.704" v="156" actId="1076"/>
          <ac:picMkLst>
            <pc:docMk/>
            <pc:sldMk cId="1259856727" sldId="292"/>
            <ac:picMk id="7" creationId="{29A0AFF7-E77E-D433-D985-2F958A1C29D4}"/>
          </ac:picMkLst>
        </pc:picChg>
      </pc:sldChg>
      <pc:sldChg chg="addSp modSp mod">
        <pc:chgData name="Roberto Gallardo" userId="49a044883f185952" providerId="LiveId" clId="{71F8BA87-9350-4305-B942-BF0EC0FCB7DB}" dt="2023-03-08T00:51:12.308" v="249" actId="1076"/>
        <pc:sldMkLst>
          <pc:docMk/>
          <pc:sldMk cId="3324519687" sldId="293"/>
        </pc:sldMkLst>
        <pc:picChg chg="add mod">
          <ac:chgData name="Roberto Gallardo" userId="49a044883f185952" providerId="LiveId" clId="{71F8BA87-9350-4305-B942-BF0EC0FCB7DB}" dt="2023-03-08T00:51:12.308" v="249" actId="1076"/>
          <ac:picMkLst>
            <pc:docMk/>
            <pc:sldMk cId="3324519687" sldId="293"/>
            <ac:picMk id="7" creationId="{5115C8DB-4651-9B09-1B0B-1903C57EC662}"/>
          </ac:picMkLst>
        </pc:picChg>
      </pc:sldChg>
      <pc:sldChg chg="addSp modSp mod">
        <pc:chgData name="Roberto Gallardo" userId="49a044883f185952" providerId="LiveId" clId="{71F8BA87-9350-4305-B942-BF0EC0FCB7DB}" dt="2023-03-08T00:51:51.319" v="273" actId="1076"/>
        <pc:sldMkLst>
          <pc:docMk/>
          <pc:sldMk cId="3256182630" sldId="295"/>
        </pc:sldMkLst>
        <pc:picChg chg="add mod">
          <ac:chgData name="Roberto Gallardo" userId="49a044883f185952" providerId="LiveId" clId="{71F8BA87-9350-4305-B942-BF0EC0FCB7DB}" dt="2023-03-08T00:51:51.319" v="273" actId="1076"/>
          <ac:picMkLst>
            <pc:docMk/>
            <pc:sldMk cId="3256182630" sldId="295"/>
            <ac:picMk id="7" creationId="{B8DC7CF3-2876-DEA3-EC97-8638F40CF465}"/>
          </ac:picMkLst>
        </pc:picChg>
      </pc:sldChg>
      <pc:sldChg chg="addSp modSp mod">
        <pc:chgData name="Roberto Gallardo" userId="49a044883f185952" providerId="LiveId" clId="{71F8BA87-9350-4305-B942-BF0EC0FCB7DB}" dt="2023-03-08T00:51:35.704" v="263" actId="1038"/>
        <pc:sldMkLst>
          <pc:docMk/>
          <pc:sldMk cId="4057156843" sldId="296"/>
        </pc:sldMkLst>
        <pc:picChg chg="add mod">
          <ac:chgData name="Roberto Gallardo" userId="49a044883f185952" providerId="LiveId" clId="{71F8BA87-9350-4305-B942-BF0EC0FCB7DB}" dt="2023-03-08T00:51:35.704" v="263" actId="1038"/>
          <ac:picMkLst>
            <pc:docMk/>
            <pc:sldMk cId="4057156843" sldId="296"/>
            <ac:picMk id="7" creationId="{1A1B6906-1BFE-8D0D-FE94-D5578B86C25B}"/>
          </ac:picMkLst>
        </pc:picChg>
      </pc:sldChg>
      <pc:sldChg chg="addSp modSp mod">
        <pc:chgData name="Roberto Gallardo" userId="49a044883f185952" providerId="LiveId" clId="{71F8BA87-9350-4305-B942-BF0EC0FCB7DB}" dt="2023-03-08T00:52:08.888" v="281" actId="1076"/>
        <pc:sldMkLst>
          <pc:docMk/>
          <pc:sldMk cId="2080110827" sldId="297"/>
        </pc:sldMkLst>
        <pc:picChg chg="add mod">
          <ac:chgData name="Roberto Gallardo" userId="49a044883f185952" providerId="LiveId" clId="{71F8BA87-9350-4305-B942-BF0EC0FCB7DB}" dt="2023-03-08T00:52:08.888" v="281" actId="1076"/>
          <ac:picMkLst>
            <pc:docMk/>
            <pc:sldMk cId="2080110827" sldId="297"/>
            <ac:picMk id="6" creationId="{0A3519C5-9038-6876-E499-DCEB90F2A3CA}"/>
          </ac:picMkLst>
        </pc:picChg>
      </pc:sldChg>
      <pc:sldChg chg="addSp modSp mod">
        <pc:chgData name="Roberto Gallardo" userId="49a044883f185952" providerId="LiveId" clId="{71F8BA87-9350-4305-B942-BF0EC0FCB7DB}" dt="2023-03-08T00:52:25.975" v="292" actId="1076"/>
        <pc:sldMkLst>
          <pc:docMk/>
          <pc:sldMk cId="1532666867" sldId="298"/>
        </pc:sldMkLst>
        <pc:picChg chg="add mod">
          <ac:chgData name="Roberto Gallardo" userId="49a044883f185952" providerId="LiveId" clId="{71F8BA87-9350-4305-B942-BF0EC0FCB7DB}" dt="2023-03-08T00:52:25.975" v="292" actId="1076"/>
          <ac:picMkLst>
            <pc:docMk/>
            <pc:sldMk cId="1532666867" sldId="298"/>
            <ac:picMk id="6" creationId="{E902132D-62C4-F564-5874-6FD878343141}"/>
          </ac:picMkLst>
        </pc:picChg>
      </pc:sldChg>
      <pc:sldChg chg="addSp modSp mod">
        <pc:chgData name="Roberto Gallardo" userId="49a044883f185952" providerId="LiveId" clId="{71F8BA87-9350-4305-B942-BF0EC0FCB7DB}" dt="2023-03-08T00:47:48.788" v="122" actId="1076"/>
        <pc:sldMkLst>
          <pc:docMk/>
          <pc:sldMk cId="1951376777" sldId="299"/>
        </pc:sldMkLst>
        <pc:picChg chg="add mod">
          <ac:chgData name="Roberto Gallardo" userId="49a044883f185952" providerId="LiveId" clId="{71F8BA87-9350-4305-B942-BF0EC0FCB7DB}" dt="2023-03-08T00:47:48.788" v="122" actId="1076"/>
          <ac:picMkLst>
            <pc:docMk/>
            <pc:sldMk cId="1951376777" sldId="299"/>
            <ac:picMk id="7" creationId="{989447B1-5502-563A-BB75-030970D4D06A}"/>
          </ac:picMkLst>
        </pc:picChg>
      </pc:sldChg>
      <pc:sldChg chg="modSp mod">
        <pc:chgData name="Roberto Gallardo" userId="49a044883f185952" providerId="LiveId" clId="{71F8BA87-9350-4305-B942-BF0EC0FCB7DB}" dt="2023-02-25T13:36:21.874" v="89" actId="20577"/>
        <pc:sldMkLst>
          <pc:docMk/>
          <pc:sldMk cId="1515423683" sldId="302"/>
        </pc:sldMkLst>
        <pc:spChg chg="mod">
          <ac:chgData name="Roberto Gallardo" userId="49a044883f185952" providerId="LiveId" clId="{71F8BA87-9350-4305-B942-BF0EC0FCB7DB}" dt="2023-02-25T13:36:21.874" v="89" actId="20577"/>
          <ac:spMkLst>
            <pc:docMk/>
            <pc:sldMk cId="1515423683" sldId="302"/>
            <ac:spMk id="5" creationId="{6AE302AC-8931-4144-BE52-DD1A8BA82462}"/>
          </ac:spMkLst>
        </pc:spChg>
        <pc:spChg chg="mod">
          <ac:chgData name="Roberto Gallardo" userId="49a044883f185952" providerId="LiveId" clId="{71F8BA87-9350-4305-B942-BF0EC0FCB7DB}" dt="2023-02-25T13:36:18.735" v="88" actId="20577"/>
          <ac:spMkLst>
            <pc:docMk/>
            <pc:sldMk cId="1515423683" sldId="302"/>
            <ac:spMk id="9" creationId="{E362A98F-7DCD-C67C-23CE-1BE182A133B4}"/>
          </ac:spMkLst>
        </pc:spChg>
      </pc:sldChg>
      <pc:sldChg chg="del">
        <pc:chgData name="Roberto Gallardo" userId="49a044883f185952" providerId="LiveId" clId="{71F8BA87-9350-4305-B942-BF0EC0FCB7DB}" dt="2023-02-25T15:14:34.227" v="91" actId="47"/>
        <pc:sldMkLst>
          <pc:docMk/>
          <pc:sldMk cId="2841628872" sldId="303"/>
        </pc:sldMkLst>
      </pc:sldChg>
      <pc:sldChg chg="del">
        <pc:chgData name="Roberto Gallardo" userId="49a044883f185952" providerId="LiveId" clId="{71F8BA87-9350-4305-B942-BF0EC0FCB7DB}" dt="2023-02-25T15:14:34.227" v="91" actId="47"/>
        <pc:sldMkLst>
          <pc:docMk/>
          <pc:sldMk cId="3084076302" sldId="304"/>
        </pc:sldMkLst>
      </pc:sldChg>
      <pc:sldChg chg="del">
        <pc:chgData name="Roberto Gallardo" userId="49a044883f185952" providerId="LiveId" clId="{71F8BA87-9350-4305-B942-BF0EC0FCB7DB}" dt="2023-02-25T15:14:34.227" v="91" actId="47"/>
        <pc:sldMkLst>
          <pc:docMk/>
          <pc:sldMk cId="473712435" sldId="305"/>
        </pc:sldMkLst>
      </pc:sldChg>
      <pc:sldChg chg="modSp mod">
        <pc:chgData name="Roberto Gallardo" userId="49a044883f185952" providerId="LiveId" clId="{71F8BA87-9350-4305-B942-BF0EC0FCB7DB}" dt="2023-02-25T12:51:22.274" v="86" actId="20577"/>
        <pc:sldMkLst>
          <pc:docMk/>
          <pc:sldMk cId="2366022307" sldId="306"/>
        </pc:sldMkLst>
        <pc:spChg chg="mod">
          <ac:chgData name="Roberto Gallardo" userId="49a044883f185952" providerId="LiveId" clId="{71F8BA87-9350-4305-B942-BF0EC0FCB7DB}" dt="2023-02-25T12:51:22.274" v="86" actId="20577"/>
          <ac:spMkLst>
            <pc:docMk/>
            <pc:sldMk cId="2366022307" sldId="306"/>
            <ac:spMk id="11" creationId="{09F5AE19-B4E3-7788-F25F-CDA80D596DAF}"/>
          </ac:spMkLst>
        </pc:spChg>
        <pc:grpChg chg="mod">
          <ac:chgData name="Roberto Gallardo" userId="49a044883f185952" providerId="LiveId" clId="{71F8BA87-9350-4305-B942-BF0EC0FCB7DB}" dt="2023-02-25T12:50:51.008" v="32" actId="1037"/>
          <ac:grpSpMkLst>
            <pc:docMk/>
            <pc:sldMk cId="2366022307" sldId="306"/>
            <ac:grpSpMk id="6" creationId="{4BC0EAD3-A621-359E-F822-1BC272A15D80}"/>
          </ac:grpSpMkLst>
        </pc:grpChg>
        <pc:cxnChg chg="mod">
          <ac:chgData name="Roberto Gallardo" userId="49a044883f185952" providerId="LiveId" clId="{71F8BA87-9350-4305-B942-BF0EC0FCB7DB}" dt="2023-02-25T12:51:12.246" v="79" actId="1036"/>
          <ac:cxnSpMkLst>
            <pc:docMk/>
            <pc:sldMk cId="2366022307" sldId="306"/>
            <ac:cxnSpMk id="27" creationId="{F0CF8142-8895-D0A8-A662-E40568742508}"/>
          </ac:cxnSpMkLst>
        </pc:cxnChg>
        <pc:cxnChg chg="mod">
          <ac:chgData name="Roberto Gallardo" userId="49a044883f185952" providerId="LiveId" clId="{71F8BA87-9350-4305-B942-BF0EC0FCB7DB}" dt="2023-02-25T12:51:16.825" v="80" actId="14100"/>
          <ac:cxnSpMkLst>
            <pc:docMk/>
            <pc:sldMk cId="2366022307" sldId="306"/>
            <ac:cxnSpMk id="28" creationId="{15C28C80-F0E1-159F-F103-CEA53436F6F9}"/>
          </ac:cxnSpMkLst>
        </pc:cxnChg>
        <pc:cxnChg chg="mod">
          <ac:chgData name="Roberto Gallardo" userId="49a044883f185952" providerId="LiveId" clId="{71F8BA87-9350-4305-B942-BF0EC0FCB7DB}" dt="2023-02-25T12:51:07.065" v="57" actId="14100"/>
          <ac:cxnSpMkLst>
            <pc:docMk/>
            <pc:sldMk cId="2366022307" sldId="306"/>
            <ac:cxnSpMk id="29" creationId="{783CFD35-8D28-EF95-B783-8C1E52BEC855}"/>
          </ac:cxnSpMkLst>
        </pc:cxnChg>
      </pc:sldChg>
      <pc:sldChg chg="add">
        <pc:chgData name="Roberto Gallardo" userId="49a044883f185952" providerId="LiveId" clId="{71F8BA87-9350-4305-B942-BF0EC0FCB7DB}" dt="2023-02-25T15:14:30.898" v="90"/>
        <pc:sldMkLst>
          <pc:docMk/>
          <pc:sldMk cId="1302618065" sldId="307"/>
        </pc:sldMkLst>
      </pc:sldChg>
      <pc:sldChg chg="add">
        <pc:chgData name="Roberto Gallardo" userId="49a044883f185952" providerId="LiveId" clId="{71F8BA87-9350-4305-B942-BF0EC0FCB7DB}" dt="2023-02-25T15:14:30.898" v="90"/>
        <pc:sldMkLst>
          <pc:docMk/>
          <pc:sldMk cId="1781647745" sldId="308"/>
        </pc:sldMkLst>
      </pc:sldChg>
      <pc:sldChg chg="add">
        <pc:chgData name="Roberto Gallardo" userId="49a044883f185952" providerId="LiveId" clId="{71F8BA87-9350-4305-B942-BF0EC0FCB7DB}" dt="2023-02-25T15:14:30.898" v="90"/>
        <pc:sldMkLst>
          <pc:docMk/>
          <pc:sldMk cId="4064588476" sldId="309"/>
        </pc:sldMkLst>
      </pc:sldChg>
      <pc:sldChg chg="add">
        <pc:chgData name="Roberto Gallardo" userId="49a044883f185952" providerId="LiveId" clId="{71F8BA87-9350-4305-B942-BF0EC0FCB7DB}" dt="2023-02-25T15:14:30.898" v="90"/>
        <pc:sldMkLst>
          <pc:docMk/>
          <pc:sldMk cId="1573538771"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Polk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8C6850C-64D9-B052-5539-8C4BEB6F124F}"/>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4064588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4A7496B-D95A-3AD4-763F-9DE10F25E9B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573538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C636BC2-4FE6-9C51-7F08-C258E0A6C5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902132D-62C4-F564-5874-6FD8783431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0A3519C5-9038-6876-E499-DCEB90F2A3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33626A7-4978-A3C5-C55A-8F996581554C}"/>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B8DC7CF3-2876-DEA3-EC97-8638F40CF4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5181D1E-80F6-768B-4D50-A5E45EBB6DE3}"/>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1A1B6906-1BFE-8D0D-FE94-D5578B86C2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4334" y="1412342"/>
            <a:ext cx="6403975" cy="4528616"/>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B8BA01C-BC91-F413-5578-40114BBFE835}"/>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115C8DB-4651-9B09-1B0B-1903C57EC6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66E207F-83BE-A6A4-3911-68EFF862F737}"/>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9C773EE9-C19E-1FD6-EB2A-761E22E400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339"/>
            <a:ext cx="6403975" cy="452861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A2F1B28-E8B0-6173-D6D8-04925A6329E5}"/>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99F4162-2C24-860F-D4E3-D7018CAD21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479DF383-6CA9-FEAF-7B2E-75496DF22BAD}"/>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2DBA694-1428-E1B0-FD49-405234F905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851" y="1400588"/>
            <a:ext cx="6403749" cy="4528457"/>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A78B9112-E702-F2E9-AD5E-D6BB5853DADA}"/>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F17492E-EBA0-17AD-3B5B-67EAE13F47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8" y="1415916"/>
            <a:ext cx="6400802" cy="4526373"/>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D66900AF-7CAE-20F2-DA66-F386B2A440B9}"/>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FD14A29-AA77-7A18-F0A6-4764290DEF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25B0EDB7-CB6B-C4DD-9BD0-31DA3D57DBF3}"/>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54740CA-2018-8EBD-32CF-8E3F08AA44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6" cy="453310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878C117F-8E67-C62F-BBAF-715816B60B33}"/>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56472E9-D88B-CE99-D340-CDE224590D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379"/>
            <a:ext cx="6403651" cy="4528387"/>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364F9E66-4FD2-5A53-D845-6504F745A68E}"/>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9A0AFF7-E77E-D433-D985-2F958A1C29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0723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70FD1500-B2A1-3582-D80E-6DFEBEDD1420}"/>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89516DE-9870-F0CF-B1F6-82537A9C80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0CC15FB-D15E-0093-87CA-2B456980DB8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C2BDC2C-49CF-0F27-A6B9-5468989B3F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45EF10B-F6A4-21CA-0F97-9D2789C0A58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989447B1-5502-563A-BB75-030970D4D0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DF802DB3-2FDF-EF22-E02B-E0C5D0771A3C}"/>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70566B00-58FD-655F-92F7-C576499C82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6"/>
            <a:ext cx="6400801" cy="4526373"/>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B4A40CB-41BE-F165-85EE-FD17E372FB4C}"/>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DA99958-75E4-80C5-FD4E-80AF0E2686BF}"/>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005CFD42-DA99-5ECB-8187-0FECC74582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6430"/>
            <a:ext cx="6400800" cy="4491035"/>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CDBC9A6-5DE5-096E-FFF9-57FC8605FA5B}"/>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ED646E7-40FD-9CB1-8208-1282C651802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4213C74-FF09-8E8F-DEB7-20FB204E8AA4}"/>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73927" y="2251718"/>
            <a:ext cx="1198148" cy="1890663"/>
            <a:chOff x="10485745" y="2990937"/>
            <a:chExt cx="1198148" cy="18906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222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909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90937"/>
              <a:ext cx="0" cy="5313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14811"/>
              <a:ext cx="0" cy="4667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467439"/>
            <a:ext cx="1198148" cy="2314827"/>
            <a:chOff x="2775759" y="2177183"/>
            <a:chExt cx="1198148" cy="23148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10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771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77183"/>
              <a:ext cx="0" cy="7838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3553"/>
              <a:ext cx="0" cy="6384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F1CEB0D-0E30-19B2-5422-E60DA93EA93A}"/>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A7C45EE-406F-6E58-0DB4-C4E17377C516}"/>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87733F6-B9F3-3A2E-65B0-767C1BF256BC}"/>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9406E9C-6534-5C5A-5879-E12062075A64}"/>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B3828CA8-F312-F4E9-3F54-C049F06D6CBD}"/>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E6CF35F0-0B78-EF0C-D752-70106171DF08}"/>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9A8D6B30-7DBC-334A-BA75-0D80FBBEE18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302618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2D70179-5A74-8E26-454D-9DC99CD4EF54}"/>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781647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4</cp:revision>
  <dcterms:created xsi:type="dcterms:W3CDTF">2022-07-04T13:32:28Z</dcterms:created>
  <dcterms:modified xsi:type="dcterms:W3CDTF">2023-03-08T00:52:45Z</dcterms:modified>
</cp:coreProperties>
</file>